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62" r:id="rId3"/>
    <p:sldMasterId id="2147483664" r:id="rId4"/>
    <p:sldMasterId id="2147483666" r:id="rId5"/>
    <p:sldMasterId id="2147483668" r:id="rId6"/>
  </p:sldMasterIdLst>
  <p:notesMasterIdLst>
    <p:notesMasterId r:id="rId13"/>
  </p:notesMasterIdLst>
  <p:sldIdLst>
    <p:sldId id="257" r:id="rId7"/>
    <p:sldId id="256" r:id="rId8"/>
    <p:sldId id="805" r:id="rId9"/>
    <p:sldId id="804" r:id="rId10"/>
    <p:sldId id="806" r:id="rId11"/>
    <p:sldId id="807" r:id="rId12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21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31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311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70366" y="756397"/>
            <a:ext cx="5403272" cy="60511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177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report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70365" y="1462368"/>
            <a:ext cx="5403272" cy="6051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7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60">
                <a:solidFill>
                  <a:schemeClr val="bg1"/>
                </a:solidFill>
                <a:latin typeface="+mj-lt"/>
              </a:defRPr>
            </a:lvl2pPr>
            <a:lvl3pPr marL="346461" indent="0" algn="l">
              <a:buNone/>
              <a:defRPr sz="1360">
                <a:solidFill>
                  <a:schemeClr val="bg1"/>
                </a:solidFill>
                <a:latin typeface="+mj-lt"/>
              </a:defRPr>
            </a:lvl3pPr>
            <a:lvl4pPr marL="692923" indent="0" algn="l">
              <a:buNone/>
              <a:defRPr sz="1360">
                <a:solidFill>
                  <a:schemeClr val="bg1"/>
                </a:solidFill>
                <a:latin typeface="+mj-lt"/>
              </a:defRPr>
            </a:lvl4pPr>
            <a:lvl5pPr marL="1039385" indent="0" algn="l">
              <a:buNone/>
              <a:defRPr sz="1360">
                <a:solidFill>
                  <a:schemeClr val="bg1"/>
                </a:solidFill>
                <a:latin typeface="+mj-lt"/>
              </a:defRPr>
            </a:lvl5pPr>
            <a:lvl6pPr marL="1385847" indent="0" algn="l">
              <a:buNone/>
              <a:defRPr sz="1360">
                <a:solidFill>
                  <a:schemeClr val="bg1"/>
                </a:solidFill>
                <a:latin typeface="+mj-lt"/>
              </a:defRPr>
            </a:lvl6pPr>
            <a:lvl7pPr marL="1732309" indent="0" algn="l">
              <a:buNone/>
              <a:defRPr sz="1360">
                <a:solidFill>
                  <a:schemeClr val="bg1"/>
                </a:solidFill>
                <a:latin typeface="+mj-lt"/>
              </a:defRPr>
            </a:lvl7pPr>
            <a:lvl8pPr marL="2078770" indent="0" algn="l">
              <a:buNone/>
              <a:defRPr sz="1360">
                <a:solidFill>
                  <a:schemeClr val="bg1"/>
                </a:solidFill>
                <a:latin typeface="+mj-lt"/>
              </a:defRPr>
            </a:lvl8pPr>
            <a:lvl9pPr marL="2425232" indent="0" algn="l">
              <a:buNone/>
              <a:defRPr sz="136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70364" y="352986"/>
            <a:ext cx="4156363" cy="100853"/>
          </a:xfrm>
        </p:spPr>
        <p:txBody>
          <a:bodyPr/>
          <a:lstStyle>
            <a:lvl1pPr>
              <a:defRPr sz="816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5116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411405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3490143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938977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итульный слайд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title"/>
          </p:nvPr>
        </p:nvSpPr>
        <p:spPr>
          <a:xfrm>
            <a:off x="1105839" y="3"/>
            <a:ext cx="6593349" cy="1305994"/>
          </a:xfrm>
          <a:prstGeom prst="rect">
            <a:avLst/>
          </a:prstGeom>
        </p:spPr>
        <p:txBody>
          <a:bodyPr anchor="b"/>
          <a:lstStyle>
            <a:lvl1pPr>
              <a:defRPr sz="2700">
                <a:solidFill>
                  <a:srgbClr val="FFFFFF"/>
                </a:solidFill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 dirty="0">
                <a:solidFill>
                  <a:srgbClr val="FFFFFF"/>
                </a:solidFill>
              </a:rPr>
              <a:t>Title Text</a:t>
            </a:r>
          </a:p>
        </p:txBody>
      </p:sp>
      <p:sp>
        <p:nvSpPr>
          <p:cNvPr id="8" name="Shape 8"/>
          <p:cNvSpPr>
            <a:spLocks noGrp="1"/>
          </p:cNvSpPr>
          <p:nvPr>
            <p:ph type="body" idx="1"/>
          </p:nvPr>
        </p:nvSpPr>
        <p:spPr>
          <a:xfrm>
            <a:off x="1105839" y="1372283"/>
            <a:ext cx="6593349" cy="3338667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1pPr>
            <a:lvl2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2pPr>
            <a:lvl3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3pPr>
            <a:lvl4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4pPr>
            <a:lvl5pPr marL="0" indent="0">
              <a:buSzTx/>
              <a:buFontTx/>
              <a:buNone/>
              <a:defRPr sz="1350">
                <a:solidFill>
                  <a:srgbClr val="FFFFFF"/>
                </a:solidFill>
              </a:defRPr>
            </a:lvl5pPr>
          </a:lstStyle>
          <a:p>
            <a:pPr lvl="0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One</a:t>
            </a:r>
          </a:p>
          <a:p>
            <a:pPr lvl="1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Two</a:t>
            </a:r>
          </a:p>
          <a:p>
            <a:pPr lvl="2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Three</a:t>
            </a:r>
          </a:p>
          <a:p>
            <a:pPr lvl="3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Four</a:t>
            </a:r>
          </a:p>
          <a:p>
            <a:pPr lvl="4"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FFFFFF"/>
                </a:solidFill>
              </a:rPr>
              <a:t>Body Level Five</a:t>
            </a:r>
          </a:p>
        </p:txBody>
      </p:sp>
      <p:sp>
        <p:nvSpPr>
          <p:cNvPr id="9" name="Shape 9"/>
          <p:cNvSpPr/>
          <p:nvPr/>
        </p:nvSpPr>
        <p:spPr>
          <a:xfrm>
            <a:off x="-12701" y="0"/>
            <a:ext cx="870156" cy="51435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>
            <a:lvl1pPr algn="ctr">
              <a:defRPr sz="13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lvl="0">
              <a:defRPr sz="1800"/>
            </a:pPr>
            <a:r>
              <a:rPr sz="975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299221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1pPr>
            <a:lvl2pPr lvl="1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2pPr>
            <a:lvl3pPr lvl="2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3pPr>
            <a:lvl4pPr lvl="3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4pPr>
            <a:lvl5pPr lvl="4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5pPr>
            <a:lvl6pPr lvl="5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6pPr>
            <a:lvl7pPr lvl="6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7pPr>
            <a:lvl8pPr lvl="7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8pPr>
            <a:lvl9pPr lvl="8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462369"/>
            <a:ext cx="8174182" cy="29247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928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/>
  <p:txStyles>
    <p:titleStyle>
      <a:lvl1pPr algn="l" defTabSz="692923" rtl="0" eaLnBrk="1" latinLnBrk="0" hangingPunct="1">
        <a:lnSpc>
          <a:spcPct val="100000"/>
        </a:lnSpc>
        <a:spcBef>
          <a:spcPct val="0"/>
        </a:spcBef>
        <a:buNone/>
        <a:defRPr sz="136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Tx/>
        <a:buFontTx/>
        <a:buNone/>
        <a:tabLst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76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•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-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◦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21903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›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5476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Pct val="100000"/>
        <a:buFont typeface="+mj-lt"/>
        <a:buAutoNum type="arabicPeriod"/>
        <a:tabLst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alpha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roman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Font typeface="Arial" pitchFamily="34" charset="0"/>
        <a:buNone/>
        <a:defRPr sz="748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1pPr>
      <a:lvl2pPr marL="346461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2pPr>
      <a:lvl3pPr marL="69292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3pPr>
      <a:lvl4pPr marL="1039385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4pPr>
      <a:lvl5pPr marL="1385847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5pPr>
      <a:lvl6pPr marL="1732309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07877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425232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77169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1466588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2096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rgbClr val="00B05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1pPr>
      <a:lvl2pPr marL="137160" indent="0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232200" indent="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3pPr>
      <a:lvl4pPr marL="372330" indent="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4pPr>
      <a:lvl5pPr marL="475200" indent="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30174682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4913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rgbClr val="00B05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 typeface="Arial" pitchFamily="34" charset="0"/>
        <a:buChar char="■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 typeface="Arial" pitchFamily="34" charset="0"/>
        <a:buChar char="•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 typeface="Arial" pitchFamily="34" charset="0"/>
        <a:buChar char="–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 typeface="Arial" pitchFamily="34" charset="0"/>
        <a:buChar char="-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 typeface="Arial" pitchFamily="34" charset="0"/>
        <a:buChar char="-"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42208254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204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35000" indent="-13500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 typeface="Arial" pitchFamily="34" charset="0"/>
        <a:buChar char="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3172" indent="-96012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7200" indent="-13500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 typeface="Arial" pitchFamily="34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5200" indent="-10287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77800" indent="-10260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 typeface="Arial" pitchFamily="34" charset="0"/>
        <a:buChar char="-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246662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254000" y="273845"/>
            <a:ext cx="7349067" cy="4869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1800">
                <a:solidFill>
                  <a:srgbClr val="808080"/>
                </a:solidFill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583691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ransition spd="med"/>
  <p:hf sldNum="0" hdr="0" dt="0"/>
  <p:txStyles>
    <p:titleStyle>
      <a:lvl1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1pPr>
      <a:lvl2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2pPr>
      <a:lvl3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3pPr>
      <a:lvl4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4pPr>
      <a:lvl5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5pPr>
      <a:lvl6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6pPr>
      <a:lvl7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7pPr>
      <a:lvl8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8pPr>
      <a:lvl9pPr>
        <a:lnSpc>
          <a:spcPct val="90000"/>
        </a:lnSpc>
        <a:defRPr sz="2400" b="1">
          <a:solidFill>
            <a:srgbClr val="FF8103"/>
          </a:solidFill>
          <a:latin typeface="Arial"/>
          <a:ea typeface="Arial"/>
          <a:cs typeface="Arial"/>
          <a:sym typeface="Arial"/>
        </a:defRPr>
      </a:lvl9pPr>
    </p:titleStyle>
    <p:bodyStyle>
      <a:lvl1pPr marL="171450" indent="-17145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1pPr>
      <a:lvl2pPr marL="548639" indent="-205739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2pPr>
      <a:lvl3pPr marL="9144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3pPr>
      <a:lvl4pPr marL="1285875" indent="-257175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4pPr>
      <a:lvl5pPr marL="1665513" indent="-293913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5pPr>
      <a:lvl6pPr marL="19431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6pPr>
      <a:lvl7pPr marL="22860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7pPr>
      <a:lvl8pPr marL="26289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8pPr>
      <a:lvl9pPr marL="2971800" indent="-228600">
        <a:lnSpc>
          <a:spcPct val="90000"/>
        </a:lnSpc>
        <a:spcBef>
          <a:spcPts val="750"/>
        </a:spcBef>
        <a:buSzPct val="100000"/>
        <a:buFont typeface="Arial"/>
        <a:buChar char="•"/>
        <a:defRPr sz="1800">
          <a:solidFill>
            <a:srgbClr val="808080"/>
          </a:solidFill>
          <a:latin typeface="Arial"/>
          <a:ea typeface="Arial"/>
          <a:cs typeface="Arial"/>
          <a:sym typeface="Arial"/>
        </a:defRPr>
      </a:lvl9pPr>
    </p:bodyStyle>
    <p:otherStyle>
      <a:lvl1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algn="r">
        <a:defRPr sz="9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est1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0"/>
              </a:spcAft>
              <a:buNone/>
            </a:pPr>
            <a:r>
              <a:rPr lang="en-US" dirty="0"/>
              <a:t>test2</a:t>
            </a:r>
            <a:endParaRPr dirty="0"/>
          </a:p>
          <a:p>
            <a:pPr marL="457200" lvl="0" indent="-342900">
              <a:spcBef>
                <a:spcPts val="160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3</a:t>
            </a:r>
            <a:endParaRPr dirty="0"/>
          </a:p>
          <a:p>
            <a: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4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-US" dirty="0"/>
              <a:t>test5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422830" y="1102261"/>
            <a:ext cx="4298341" cy="605118"/>
          </a:xfrm>
        </p:spPr>
        <p:txBody>
          <a:bodyPr/>
          <a:lstStyle/>
          <a:p>
            <a:r>
              <a:rPr lang="en-GB">
                <a:solidFill>
                  <a:srgbClr val="FF0000"/>
                </a:solidFill>
              </a:rPr>
              <a:t>Test subtitle</a:t>
            </a:r>
            <a:endParaRPr lang="en-GB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6380" y="603505"/>
            <a:ext cx="6480810" cy="249299"/>
          </a:xfr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>
                <a:solidFill>
                  <a:srgbClr val="00B050"/>
                </a:solidFill>
                <a:latin typeface="Arial"/>
              </a:rPr>
              <a:t>Tes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5683" y="1127986"/>
            <a:ext cx="3066317" cy="186974"/>
          </a:xfrm>
        </p:spPr>
        <p:txBody>
          <a:bodyPr/>
          <a:lstStyle/>
          <a:p>
            <a:r>
              <a:rPr lang="en-GB" sz="135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505683" y="1403387"/>
            <a:ext cx="3060554" cy="515013"/>
          </a:xfrm>
        </p:spPr>
        <p:txBody>
          <a:bodyPr/>
          <a:lstStyle/>
          <a:p>
            <a:pPr marL="0" indent="0">
              <a:buNone/>
            </a:pPr>
            <a:r>
              <a:rPr lang="en-GB" sz="1350" dirty="0">
                <a:solidFill>
                  <a:srgbClr val="00B050"/>
                </a:solidFill>
              </a:rPr>
              <a:t>test</a:t>
            </a:r>
          </a:p>
          <a:p>
            <a:pPr marL="0" indent="0">
              <a:buNone/>
            </a:pPr>
            <a:endParaRPr lang="en-GB" sz="135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893923" y="1131011"/>
            <a:ext cx="2739047" cy="339067"/>
          </a:xfrm>
        </p:spPr>
        <p:txBody>
          <a:bodyPr/>
          <a:lstStyle/>
          <a:p>
            <a:pPr marL="0" lvl="1"/>
            <a:r>
              <a:rPr lang="en-GB" sz="900" dirty="0">
                <a:solidFill>
                  <a:srgbClr val="00B050"/>
                </a:solidFill>
              </a:rPr>
              <a:t>test</a:t>
            </a:r>
          </a:p>
          <a:p>
            <a:pPr marL="628077" lvl="1" indent="-311546"/>
            <a:r>
              <a:rPr lang="en-GB" sz="90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17" name="Source"/>
          <p:cNvSpPr txBox="1"/>
          <p:nvPr/>
        </p:nvSpPr>
        <p:spPr>
          <a:xfrm>
            <a:off x="1506878" y="4609211"/>
            <a:ext cx="5285277" cy="12086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157" indent="-274157" defTabSz="685800">
              <a:buClrTx/>
            </a:pPr>
            <a:r>
              <a:rPr lang="en-GB" sz="554" dirty="0">
                <a:solidFill>
                  <a:srgbClr val="00B050"/>
                </a:solidFill>
                <a:latin typeface="Arial"/>
              </a:rPr>
              <a:t>Test foo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408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5683" y="944037"/>
            <a:ext cx="3066317" cy="166199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Test</a:t>
            </a:r>
            <a:endParaRPr lang="en-GB" dirty="0">
              <a:solidFill>
                <a:srgbClr val="00B05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5080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505683" y="1219437"/>
            <a:ext cx="3060554" cy="473463"/>
          </a:xfrm>
        </p:spPr>
        <p:txBody>
          <a:bodyPr/>
          <a:lstStyle/>
          <a:p>
            <a:r>
              <a:rPr lang="en-GB" dirty="0"/>
              <a:t>Test</a:t>
            </a:r>
          </a:p>
          <a:p>
            <a:pPr marL="0" indent="0">
              <a:buNone/>
            </a:pP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8005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05839" y="0"/>
            <a:ext cx="6163641" cy="21308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st text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4.xml><?xml version="1.0" encoding="utf-8"?>
<a:theme xmlns:a="http://schemas.openxmlformats.org/drawingml/2006/main" name="1_Blank">
  <a:themeElements>
    <a:clrScheme name="Orange Re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5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6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noFill/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2</Words>
  <Application>Microsoft Office PowerPoint</Application>
  <PresentationFormat>On-screen Show (16:9)</PresentationFormat>
  <Paragraphs>1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Georgia</vt:lpstr>
      <vt:lpstr>Simple Light</vt:lpstr>
      <vt:lpstr>~2997995</vt:lpstr>
      <vt:lpstr>Blank</vt:lpstr>
      <vt:lpstr>1_Blank</vt:lpstr>
      <vt:lpstr>2_Blank</vt:lpstr>
      <vt:lpstr>Default</vt:lpstr>
      <vt:lpstr>think-cell Slide</vt:lpstr>
      <vt:lpstr>PowerPoint Presentation</vt:lpstr>
      <vt:lpstr>PowerPoint Presentation</vt:lpstr>
      <vt:lpstr>Test</vt:lpstr>
      <vt:lpstr>PowerPoint Presentation</vt:lpstr>
      <vt:lpstr>PowerPoint Presentation</vt:lpstr>
      <vt:lpstr>Test t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dam Schachabov</cp:lastModifiedBy>
  <cp:revision>11</cp:revision>
  <dcterms:modified xsi:type="dcterms:W3CDTF">2020-02-09T09:18:46Z</dcterms:modified>
</cp:coreProperties>
</file>